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177899-9538-4CF9-9C09-DE29106D7DF3}" v="49" dt="2023-03-09T00:58:33.54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7177899-9538-4CF9-9C09-DE29106D7DF3}"/>
    <pc:docChg chg="modSld">
      <pc:chgData name="Roberto Gallardo" userId="49a044883f185952" providerId="LiveId" clId="{57177899-9538-4CF9-9C09-DE29106D7DF3}" dt="2023-03-09T00:58:46.019" v="259" actId="1036"/>
      <pc:docMkLst>
        <pc:docMk/>
      </pc:docMkLst>
      <pc:sldChg chg="addSp modSp mod">
        <pc:chgData name="Roberto Gallardo" userId="49a044883f185952" providerId="LiveId" clId="{57177899-9538-4CF9-9C09-DE29106D7DF3}" dt="2023-03-09T00:52:58.984" v="35" actId="1076"/>
        <pc:sldMkLst>
          <pc:docMk/>
          <pc:sldMk cId="1418533539" sldId="271"/>
        </pc:sldMkLst>
        <pc:picChg chg="add mod">
          <ac:chgData name="Roberto Gallardo" userId="49a044883f185952" providerId="LiveId" clId="{57177899-9538-4CF9-9C09-DE29106D7DF3}" dt="2023-03-09T00:52:58.984" v="35" actId="1076"/>
          <ac:picMkLst>
            <pc:docMk/>
            <pc:sldMk cId="1418533539" sldId="271"/>
            <ac:picMk id="6" creationId="{9C7B030E-06AE-A8B3-0D92-B861567C04C4}"/>
          </ac:picMkLst>
        </pc:picChg>
      </pc:sldChg>
      <pc:sldChg chg="addSp modSp mod">
        <pc:chgData name="Roberto Gallardo" userId="49a044883f185952" providerId="LiveId" clId="{57177899-9538-4CF9-9C09-DE29106D7DF3}" dt="2023-03-09T00:55:07.236" v="105" actId="1076"/>
        <pc:sldMkLst>
          <pc:docMk/>
          <pc:sldMk cId="2124848710" sldId="281"/>
        </pc:sldMkLst>
        <pc:picChg chg="add mod">
          <ac:chgData name="Roberto Gallardo" userId="49a044883f185952" providerId="LiveId" clId="{57177899-9538-4CF9-9C09-DE29106D7DF3}" dt="2023-03-09T00:55:07.236" v="105" actId="1076"/>
          <ac:picMkLst>
            <pc:docMk/>
            <pc:sldMk cId="2124848710" sldId="281"/>
            <ac:picMk id="6" creationId="{13CD9283-1020-6B21-0501-0CA45ECA7580}"/>
          </ac:picMkLst>
        </pc:picChg>
      </pc:sldChg>
      <pc:sldChg chg="addSp modSp mod">
        <pc:chgData name="Roberto Gallardo" userId="49a044883f185952" providerId="LiveId" clId="{57177899-9538-4CF9-9C09-DE29106D7DF3}" dt="2023-03-09T00:55:20.964" v="113" actId="1076"/>
        <pc:sldMkLst>
          <pc:docMk/>
          <pc:sldMk cId="2028175529" sldId="282"/>
        </pc:sldMkLst>
        <pc:picChg chg="add mod">
          <ac:chgData name="Roberto Gallardo" userId="49a044883f185952" providerId="LiveId" clId="{57177899-9538-4CF9-9C09-DE29106D7DF3}" dt="2023-03-09T00:55:20.964" v="113" actId="1076"/>
          <ac:picMkLst>
            <pc:docMk/>
            <pc:sldMk cId="2028175529" sldId="282"/>
            <ac:picMk id="7" creationId="{AAFB46F4-B700-E800-3544-A4E86F861211}"/>
          </ac:picMkLst>
        </pc:picChg>
      </pc:sldChg>
      <pc:sldChg chg="addSp modSp mod">
        <pc:chgData name="Roberto Gallardo" userId="49a044883f185952" providerId="LiveId" clId="{57177899-9538-4CF9-9C09-DE29106D7DF3}" dt="2023-03-09T00:55:38.018" v="123" actId="1076"/>
        <pc:sldMkLst>
          <pc:docMk/>
          <pc:sldMk cId="1326517747" sldId="283"/>
        </pc:sldMkLst>
        <pc:picChg chg="add mod">
          <ac:chgData name="Roberto Gallardo" userId="49a044883f185952" providerId="LiveId" clId="{57177899-9538-4CF9-9C09-DE29106D7DF3}" dt="2023-03-09T00:55:38.018" v="123" actId="1076"/>
          <ac:picMkLst>
            <pc:docMk/>
            <pc:sldMk cId="1326517747" sldId="283"/>
            <ac:picMk id="7" creationId="{376B0CD5-4EF9-229C-DC89-6F7E5157BB80}"/>
          </ac:picMkLst>
        </pc:picChg>
      </pc:sldChg>
      <pc:sldChg chg="addSp modSp mod">
        <pc:chgData name="Roberto Gallardo" userId="49a044883f185952" providerId="LiveId" clId="{57177899-9538-4CF9-9C09-DE29106D7DF3}" dt="2023-03-09T00:55:53.128" v="132" actId="1076"/>
        <pc:sldMkLst>
          <pc:docMk/>
          <pc:sldMk cId="783739251" sldId="284"/>
        </pc:sldMkLst>
        <pc:picChg chg="add mod">
          <ac:chgData name="Roberto Gallardo" userId="49a044883f185952" providerId="LiveId" clId="{57177899-9538-4CF9-9C09-DE29106D7DF3}" dt="2023-03-09T00:55:53.128" v="132" actId="1076"/>
          <ac:picMkLst>
            <pc:docMk/>
            <pc:sldMk cId="783739251" sldId="284"/>
            <ac:picMk id="7" creationId="{467336C4-E07F-7291-F8E0-A7A27817E304}"/>
          </ac:picMkLst>
        </pc:picChg>
      </pc:sldChg>
      <pc:sldChg chg="addSp modSp mod">
        <pc:chgData name="Roberto Gallardo" userId="49a044883f185952" providerId="LiveId" clId="{57177899-9538-4CF9-9C09-DE29106D7DF3}" dt="2023-03-09T00:56:09.127" v="142" actId="1076"/>
        <pc:sldMkLst>
          <pc:docMk/>
          <pc:sldMk cId="1676122233" sldId="285"/>
        </pc:sldMkLst>
        <pc:picChg chg="add mod">
          <ac:chgData name="Roberto Gallardo" userId="49a044883f185952" providerId="LiveId" clId="{57177899-9538-4CF9-9C09-DE29106D7DF3}" dt="2023-03-09T00:56:09.127" v="142" actId="1076"/>
          <ac:picMkLst>
            <pc:docMk/>
            <pc:sldMk cId="1676122233" sldId="285"/>
            <ac:picMk id="7" creationId="{81964D65-D7F5-63F1-D4CF-86BD7CE767E0}"/>
          </ac:picMkLst>
        </pc:picChg>
      </pc:sldChg>
      <pc:sldChg chg="addSp modSp mod">
        <pc:chgData name="Roberto Gallardo" userId="49a044883f185952" providerId="LiveId" clId="{57177899-9538-4CF9-9C09-DE29106D7DF3}" dt="2023-03-09T00:56:26.824" v="151" actId="1076"/>
        <pc:sldMkLst>
          <pc:docMk/>
          <pc:sldMk cId="3100398757" sldId="286"/>
        </pc:sldMkLst>
        <pc:picChg chg="add mod">
          <ac:chgData name="Roberto Gallardo" userId="49a044883f185952" providerId="LiveId" clId="{57177899-9538-4CF9-9C09-DE29106D7DF3}" dt="2023-03-09T00:56:26.824" v="151" actId="1076"/>
          <ac:picMkLst>
            <pc:docMk/>
            <pc:sldMk cId="3100398757" sldId="286"/>
            <ac:picMk id="7" creationId="{1E826C6F-0730-F89C-59B9-BD5A49A8F1A4}"/>
          </ac:picMkLst>
        </pc:picChg>
      </pc:sldChg>
      <pc:sldChg chg="addSp modSp mod">
        <pc:chgData name="Roberto Gallardo" userId="49a044883f185952" providerId="LiveId" clId="{57177899-9538-4CF9-9C09-DE29106D7DF3}" dt="2023-03-09T00:56:44.696" v="162" actId="1076"/>
        <pc:sldMkLst>
          <pc:docMk/>
          <pc:sldMk cId="1546475425" sldId="287"/>
        </pc:sldMkLst>
        <pc:picChg chg="add mod">
          <ac:chgData name="Roberto Gallardo" userId="49a044883f185952" providerId="LiveId" clId="{57177899-9538-4CF9-9C09-DE29106D7DF3}" dt="2023-03-09T00:56:44.696" v="162" actId="1076"/>
          <ac:picMkLst>
            <pc:docMk/>
            <pc:sldMk cId="1546475425" sldId="287"/>
            <ac:picMk id="7" creationId="{8C30ACD8-A8F2-026B-734B-3C6D65055178}"/>
          </ac:picMkLst>
        </pc:picChg>
      </pc:sldChg>
      <pc:sldChg chg="addSp modSp mod">
        <pc:chgData name="Roberto Gallardo" userId="49a044883f185952" providerId="LiveId" clId="{57177899-9538-4CF9-9C09-DE29106D7DF3}" dt="2023-03-09T00:57:15.904" v="183" actId="1076"/>
        <pc:sldMkLst>
          <pc:docMk/>
          <pc:sldMk cId="1380517306" sldId="288"/>
        </pc:sldMkLst>
        <pc:picChg chg="add mod">
          <ac:chgData name="Roberto Gallardo" userId="49a044883f185952" providerId="LiveId" clId="{57177899-9538-4CF9-9C09-DE29106D7DF3}" dt="2023-03-09T00:57:15.904" v="183" actId="1076"/>
          <ac:picMkLst>
            <pc:docMk/>
            <pc:sldMk cId="1380517306" sldId="288"/>
            <ac:picMk id="7" creationId="{095582A1-82E5-7B0B-639E-274FDBB4542A}"/>
          </ac:picMkLst>
        </pc:picChg>
      </pc:sldChg>
      <pc:sldChg chg="addSp modSp mod">
        <pc:chgData name="Roberto Gallardo" userId="49a044883f185952" providerId="LiveId" clId="{57177899-9538-4CF9-9C09-DE29106D7DF3}" dt="2023-03-09T00:57:30.916" v="192" actId="1076"/>
        <pc:sldMkLst>
          <pc:docMk/>
          <pc:sldMk cId="1388671151" sldId="289"/>
        </pc:sldMkLst>
        <pc:picChg chg="add mod">
          <ac:chgData name="Roberto Gallardo" userId="49a044883f185952" providerId="LiveId" clId="{57177899-9538-4CF9-9C09-DE29106D7DF3}" dt="2023-03-09T00:57:30.916" v="192" actId="1076"/>
          <ac:picMkLst>
            <pc:docMk/>
            <pc:sldMk cId="1388671151" sldId="289"/>
            <ac:picMk id="7" creationId="{86C18CB2-B4F1-5665-BBC2-9E785B8B0C85}"/>
          </ac:picMkLst>
        </pc:picChg>
      </pc:sldChg>
      <pc:sldChg chg="addSp modSp mod">
        <pc:chgData name="Roberto Gallardo" userId="49a044883f185952" providerId="LiveId" clId="{57177899-9538-4CF9-9C09-DE29106D7DF3}" dt="2023-03-09T00:58:27.852" v="238" actId="1076"/>
        <pc:sldMkLst>
          <pc:docMk/>
          <pc:sldMk cId="2355376039" sldId="290"/>
        </pc:sldMkLst>
        <pc:picChg chg="add mod">
          <ac:chgData name="Roberto Gallardo" userId="49a044883f185952" providerId="LiveId" clId="{57177899-9538-4CF9-9C09-DE29106D7DF3}" dt="2023-03-09T00:58:27.852" v="238" actId="1076"/>
          <ac:picMkLst>
            <pc:docMk/>
            <pc:sldMk cId="2355376039" sldId="290"/>
            <ac:picMk id="8" creationId="{00F36B4E-C08A-AED0-8F11-2B21CE89AF97}"/>
          </ac:picMkLst>
        </pc:picChg>
      </pc:sldChg>
      <pc:sldChg chg="addSp modSp mod">
        <pc:chgData name="Roberto Gallardo" userId="49a044883f185952" providerId="LiveId" clId="{57177899-9538-4CF9-9C09-DE29106D7DF3}" dt="2023-03-09T00:58:46.019" v="259" actId="1036"/>
        <pc:sldMkLst>
          <pc:docMk/>
          <pc:sldMk cId="3757257295" sldId="291"/>
        </pc:sldMkLst>
        <pc:picChg chg="add mod">
          <ac:chgData name="Roberto Gallardo" userId="49a044883f185952" providerId="LiveId" clId="{57177899-9538-4CF9-9C09-DE29106D7DF3}" dt="2023-03-09T00:58:46.019" v="259" actId="1036"/>
          <ac:picMkLst>
            <pc:docMk/>
            <pc:sldMk cId="3757257295" sldId="291"/>
            <ac:picMk id="8" creationId="{8D426747-D013-6E5E-8FEF-94A40A87D1A7}"/>
          </ac:picMkLst>
        </pc:picChg>
      </pc:sldChg>
      <pc:sldChg chg="addSp modSp mod">
        <pc:chgData name="Roberto Gallardo" userId="49a044883f185952" providerId="LiveId" clId="{57177899-9538-4CF9-9C09-DE29106D7DF3}" dt="2023-03-09T00:56:59.287" v="172" actId="1076"/>
        <pc:sldMkLst>
          <pc:docMk/>
          <pc:sldMk cId="1259856727" sldId="292"/>
        </pc:sldMkLst>
        <pc:picChg chg="add mod">
          <ac:chgData name="Roberto Gallardo" userId="49a044883f185952" providerId="LiveId" clId="{57177899-9538-4CF9-9C09-DE29106D7DF3}" dt="2023-03-09T00:56:59.287" v="172" actId="1076"/>
          <ac:picMkLst>
            <pc:docMk/>
            <pc:sldMk cId="1259856727" sldId="292"/>
            <ac:picMk id="7" creationId="{EFC18A36-19F8-95CD-0298-E427D1314B88}"/>
          </ac:picMkLst>
        </pc:picChg>
      </pc:sldChg>
      <pc:sldChg chg="addSp modSp mod">
        <pc:chgData name="Roberto Gallardo" userId="49a044883f185952" providerId="LiveId" clId="{57177899-9538-4CF9-9C09-DE29106D7DF3}" dt="2023-03-09T00:54:42.579" v="89" actId="1076"/>
        <pc:sldMkLst>
          <pc:docMk/>
          <pc:sldMk cId="3324519687" sldId="293"/>
        </pc:sldMkLst>
        <pc:picChg chg="add mod">
          <ac:chgData name="Roberto Gallardo" userId="49a044883f185952" providerId="LiveId" clId="{57177899-9538-4CF9-9C09-DE29106D7DF3}" dt="2023-03-09T00:54:42.579" v="89" actId="1076"/>
          <ac:picMkLst>
            <pc:docMk/>
            <pc:sldMk cId="3324519687" sldId="293"/>
            <ac:picMk id="7" creationId="{8E21604E-D3B4-6F7D-ED6A-67F354838497}"/>
          </ac:picMkLst>
        </pc:picChg>
      </pc:sldChg>
      <pc:sldChg chg="addSp modSp mod">
        <pc:chgData name="Roberto Gallardo" userId="49a044883f185952" providerId="LiveId" clId="{57177899-9538-4CF9-9C09-DE29106D7DF3}" dt="2023-03-09T00:54:02.072" v="66" actId="1076"/>
        <pc:sldMkLst>
          <pc:docMk/>
          <pc:sldMk cId="3256182630" sldId="295"/>
        </pc:sldMkLst>
        <pc:picChg chg="add mod">
          <ac:chgData name="Roberto Gallardo" userId="49a044883f185952" providerId="LiveId" clId="{57177899-9538-4CF9-9C09-DE29106D7DF3}" dt="2023-03-09T00:54:02.072" v="66" actId="1076"/>
          <ac:picMkLst>
            <pc:docMk/>
            <pc:sldMk cId="3256182630" sldId="295"/>
            <ac:picMk id="7" creationId="{C5C7969A-E968-0CA2-FD09-2B5DED6398AD}"/>
          </ac:picMkLst>
        </pc:picChg>
      </pc:sldChg>
      <pc:sldChg chg="addSp modSp mod">
        <pc:chgData name="Roberto Gallardo" userId="49a044883f185952" providerId="LiveId" clId="{57177899-9538-4CF9-9C09-DE29106D7DF3}" dt="2023-03-09T00:54:22.421" v="76" actId="1076"/>
        <pc:sldMkLst>
          <pc:docMk/>
          <pc:sldMk cId="4057156843" sldId="296"/>
        </pc:sldMkLst>
        <pc:picChg chg="add mod">
          <ac:chgData name="Roberto Gallardo" userId="49a044883f185952" providerId="LiveId" clId="{57177899-9538-4CF9-9C09-DE29106D7DF3}" dt="2023-03-09T00:54:22.421" v="76" actId="1076"/>
          <ac:picMkLst>
            <pc:docMk/>
            <pc:sldMk cId="4057156843" sldId="296"/>
            <ac:picMk id="7" creationId="{B1109939-5090-200C-915E-DA07B28D7E82}"/>
          </ac:picMkLst>
        </pc:picChg>
      </pc:sldChg>
      <pc:sldChg chg="addSp modSp mod">
        <pc:chgData name="Roberto Gallardo" userId="49a044883f185952" providerId="LiveId" clId="{57177899-9538-4CF9-9C09-DE29106D7DF3}" dt="2023-03-09T00:53:46.200" v="58" actId="1076"/>
        <pc:sldMkLst>
          <pc:docMk/>
          <pc:sldMk cId="2080110827" sldId="297"/>
        </pc:sldMkLst>
        <pc:picChg chg="add mod">
          <ac:chgData name="Roberto Gallardo" userId="49a044883f185952" providerId="LiveId" clId="{57177899-9538-4CF9-9C09-DE29106D7DF3}" dt="2023-03-09T00:53:46.200" v="58" actId="1076"/>
          <ac:picMkLst>
            <pc:docMk/>
            <pc:sldMk cId="2080110827" sldId="297"/>
            <ac:picMk id="6" creationId="{ED92431E-26D9-FEA9-88D1-10C48BB51EB9}"/>
          </ac:picMkLst>
        </pc:picChg>
      </pc:sldChg>
      <pc:sldChg chg="addSp modSp mod">
        <pc:chgData name="Roberto Gallardo" userId="49a044883f185952" providerId="LiveId" clId="{57177899-9538-4CF9-9C09-DE29106D7DF3}" dt="2023-03-09T00:53:20.937" v="48" actId="1076"/>
        <pc:sldMkLst>
          <pc:docMk/>
          <pc:sldMk cId="1532666867" sldId="298"/>
        </pc:sldMkLst>
        <pc:picChg chg="add mod">
          <ac:chgData name="Roberto Gallardo" userId="49a044883f185952" providerId="LiveId" clId="{57177899-9538-4CF9-9C09-DE29106D7DF3}" dt="2023-03-09T00:53:20.937" v="48" actId="1076"/>
          <ac:picMkLst>
            <pc:docMk/>
            <pc:sldMk cId="1532666867" sldId="298"/>
            <ac:picMk id="6" creationId="{19470EF4-7F31-AAE0-40F4-557913FB7FD8}"/>
          </ac:picMkLst>
        </pc:picChg>
      </pc:sldChg>
      <pc:sldChg chg="addSp modSp mod">
        <pc:chgData name="Roberto Gallardo" userId="49a044883f185952" providerId="LiveId" clId="{57177899-9538-4CF9-9C09-DE29106D7DF3}" dt="2023-03-09T00:58:06.824" v="230" actId="1035"/>
        <pc:sldMkLst>
          <pc:docMk/>
          <pc:sldMk cId="1951376777" sldId="299"/>
        </pc:sldMkLst>
        <pc:picChg chg="add mod">
          <ac:chgData name="Roberto Gallardo" userId="49a044883f185952" providerId="LiveId" clId="{57177899-9538-4CF9-9C09-DE29106D7DF3}" dt="2023-03-09T00:58:06.824" v="230" actId="1035"/>
          <ac:picMkLst>
            <pc:docMk/>
            <pc:sldMk cId="1951376777" sldId="299"/>
            <ac:picMk id="7" creationId="{6AFDDDC0-7ED6-1401-557E-C87F6D0E57D8}"/>
          </ac:picMkLst>
        </pc:picChg>
      </pc:sldChg>
      <pc:sldChg chg="modSp mod">
        <pc:chgData name="Roberto Gallardo" userId="49a044883f185952" providerId="LiveId" clId="{57177899-9538-4CF9-9C09-DE29106D7DF3}" dt="2023-02-25T19:20:46.712" v="28" actId="14100"/>
        <pc:sldMkLst>
          <pc:docMk/>
          <pc:sldMk cId="2366022307" sldId="306"/>
        </pc:sldMkLst>
        <pc:spChg chg="mod">
          <ac:chgData name="Roberto Gallardo" userId="49a044883f185952" providerId="LiveId" clId="{57177899-9538-4CF9-9C09-DE29106D7DF3}" dt="2023-02-25T19:20:33.057" v="14" actId="1035"/>
          <ac:spMkLst>
            <pc:docMk/>
            <pc:sldMk cId="2366022307" sldId="306"/>
            <ac:spMk id="11" creationId="{09F5AE19-B4E3-7788-F25F-CDA80D596DAF}"/>
          </ac:spMkLst>
        </pc:spChg>
        <pc:grpChg chg="mod">
          <ac:chgData name="Roberto Gallardo" userId="49a044883f185952" providerId="LiveId" clId="{57177899-9538-4CF9-9C09-DE29106D7DF3}" dt="2023-02-25T19:20:23.416" v="4" actId="1076"/>
          <ac:grpSpMkLst>
            <pc:docMk/>
            <pc:sldMk cId="2366022307" sldId="306"/>
            <ac:grpSpMk id="6" creationId="{4BC0EAD3-A621-359E-F822-1BC272A15D80}"/>
          </ac:grpSpMkLst>
        </pc:grpChg>
        <pc:cxnChg chg="mod">
          <ac:chgData name="Roberto Gallardo" userId="49a044883f185952" providerId="LiveId" clId="{57177899-9538-4CF9-9C09-DE29106D7DF3}" dt="2023-02-25T19:20:42.567" v="27" actId="1036"/>
          <ac:cxnSpMkLst>
            <pc:docMk/>
            <pc:sldMk cId="2366022307" sldId="306"/>
            <ac:cxnSpMk id="27" creationId="{F0CF8142-8895-D0A8-A662-E40568742508}"/>
          </ac:cxnSpMkLst>
        </pc:cxnChg>
        <pc:cxnChg chg="mod">
          <ac:chgData name="Roberto Gallardo" userId="49a044883f185952" providerId="LiveId" clId="{57177899-9538-4CF9-9C09-DE29106D7DF3}" dt="2023-02-25T19:20:46.712" v="28" actId="14100"/>
          <ac:cxnSpMkLst>
            <pc:docMk/>
            <pc:sldMk cId="2366022307" sldId="306"/>
            <ac:cxnSpMk id="28" creationId="{15C28C80-F0E1-159F-F103-CEA53436F6F9}"/>
          </ac:cxnSpMkLst>
        </pc:cxnChg>
        <pc:cxnChg chg="mod">
          <ac:chgData name="Roberto Gallardo" userId="49a044883f185952" providerId="LiveId" clId="{57177899-9538-4CF9-9C09-DE29106D7DF3}" dt="2023-02-25T19:20:37.312" v="15"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adis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C77256A-640D-A968-12C2-D8A5038356A4}"/>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BB2A4F8-70A5-FA7F-771C-1453180DEC99}"/>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9C7B030E-06AE-A8B3-0D92-B861567C04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7632" y="1028700"/>
            <a:ext cx="7600535" cy="5374773"/>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19470EF4-7F31-AAE0-40F4-557913FB7F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D92431E-26D9-FEA9-88D1-10C48BB51E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7A51B3E-D16C-BFF6-BE5B-A61695F0DBDC}"/>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C5C7969A-E968-0CA2-FD09-2B5DED6398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ECB5F54-2740-2AF1-2918-0B8FBD6E738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B1109939-5090-200C-915E-DA07B28D7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80CE16F4-72F3-2ACD-2EA2-3FE379D81B7E}"/>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8E21604E-D3B4-6F7D-ED6A-67F3548384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764D86E-DB52-ADB7-82DC-CEDE4147CB0C}"/>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13CD9283-1020-6B21-0501-0CA45ECA75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547"/>
            <a:ext cx="6403976"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25C1A45-3566-2B1E-00BE-D3A8E8EFEEB3}"/>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AFB46F4-B700-E800-3544-A4E86F8612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562"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1AD4F002-B50A-3760-F7B8-DA4E775D50C8}"/>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76B0CD5-4EF9-229C-DC89-6F7E5157BB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1631"/>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81CD3347-7204-FA6D-4165-4BDE6E2BF6CE}"/>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67336C4-E07F-7291-F8E0-A7A27817E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8B4E277-C059-6506-767E-213AEAD524DA}"/>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1964D65-D7F5-63F1-D4CF-86BD7CE767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12"/>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CC549CBD-C46A-1A05-14DC-AE90854C5805}"/>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E826C6F-0730-F89C-59B9-BD5A49A8F1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1385" y="1426572"/>
            <a:ext cx="6388215" cy="451747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3EEBBDA9-5F70-C19D-8CEB-1EC0CA91A0D2}"/>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C30ACD8-A8F2-026B-734B-3C6D650551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64F3FBB7-373E-0587-A5CD-71A072A8FC67}"/>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FC18A36-19F8-95CD-0298-E427D1314B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7481"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FEBD151D-C431-7B01-3EBA-EA6C068B20CD}"/>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95582A1-82E5-7B0B-639E-274FDBB454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E5CD8A59-CD36-AF92-925E-F840B07E8C59}"/>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6C18CB2-B4F1-5665-BBC2-9E785B8B0C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40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2C0E4316-1682-D04D-B46B-822600084D5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6AFDDDC0-7ED6-1401-557E-C87F6D0E57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5945" y="1431934"/>
            <a:ext cx="6392364" cy="4520405"/>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FD663187-B87A-798B-41A0-722382A257BA}"/>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00F36B4E-C08A-AED0-8F11-2B21CE89AF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461" y="1417027"/>
            <a:ext cx="6401139" cy="452661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5F54BC5B-6C4C-19FF-06B8-F5678038AA39}"/>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1DA7E180-27B5-BEA3-9315-CAEF294DAA8D}"/>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8D426747-D013-6E5E-8FEF-94A40A87D1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2725"/>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BDDDEB71-5DC0-C1DE-DF85-538C2B846B7B}"/>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03F8CDD-2C71-D108-B829-4692C9152200}"/>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7FCD721-CCDE-AB42-F132-6F6912BFF0DE}"/>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6057" y="2161651"/>
            <a:ext cx="1198148" cy="1938288"/>
            <a:chOff x="10485745" y="2943312"/>
            <a:chExt cx="1198148" cy="19382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127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433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43312"/>
              <a:ext cx="0" cy="5694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05286"/>
              <a:ext cx="0" cy="4763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181689"/>
            <a:ext cx="1198148" cy="1943352"/>
            <a:chOff x="2775759" y="2548658"/>
            <a:chExt cx="1198148" cy="19433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1134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2</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486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48658"/>
              <a:ext cx="0" cy="5647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4005953"/>
              <a:ext cx="0" cy="4860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4A7AAB9-475A-4B17-BC7A-2E96A5054530}"/>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DB38B53-C545-1091-A8A5-6C7C94B7DF27}"/>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228C4A1-3518-5C68-2198-51B30926923C}"/>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B34CCF06-A26A-0FB6-FFC3-640960ECD983}"/>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C7DD91E-AA38-4BCC-2192-C0A06051851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6354CA83-B099-7D2A-B0D2-4E3646989E58}"/>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1D9FDE56-79E4-1992-D5FA-44C9BA141C39}"/>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713D5BC-0CED-C105-1228-A18FA90D4C5A}"/>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22</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20</cp:revision>
  <dcterms:created xsi:type="dcterms:W3CDTF">2022-07-04T13:32:28Z</dcterms:created>
  <dcterms:modified xsi:type="dcterms:W3CDTF">2023-03-09T00:58:46Z</dcterms:modified>
</cp:coreProperties>
</file>